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595" r:id="rId2"/>
    <p:sldId id="626" r:id="rId3"/>
    <p:sldId id="608" r:id="rId4"/>
    <p:sldId id="609" r:id="rId5"/>
    <p:sldId id="610" r:id="rId6"/>
    <p:sldId id="611" r:id="rId7"/>
    <p:sldId id="612" r:id="rId8"/>
    <p:sldId id="613" r:id="rId9"/>
    <p:sldId id="614" r:id="rId10"/>
    <p:sldId id="615" r:id="rId11"/>
    <p:sldId id="616" r:id="rId12"/>
    <p:sldId id="617" r:id="rId13"/>
    <p:sldId id="618" r:id="rId14"/>
    <p:sldId id="619" r:id="rId15"/>
    <p:sldId id="620" r:id="rId16"/>
    <p:sldId id="621" r:id="rId17"/>
    <p:sldId id="622" r:id="rId18"/>
    <p:sldId id="623" r:id="rId19"/>
    <p:sldId id="624" r:id="rId20"/>
    <p:sldId id="625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FA3"/>
    <a:srgbClr val="8E0825"/>
    <a:srgbClr val="001581"/>
    <a:srgbClr val="FFFFFF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88" autoAdjust="0"/>
    <p:restoredTop sz="95165" autoAdjust="0"/>
  </p:normalViewPr>
  <p:slideViewPr>
    <p:cSldViewPr>
      <p:cViewPr varScale="1">
        <p:scale>
          <a:sx n="86" d="100"/>
          <a:sy n="86" d="100"/>
        </p:scale>
        <p:origin x="446" y="48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11/2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11/2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111: FPGA Flow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59AAC24-DEA2-5D21-F6EC-5B39705F2FDC}"/>
              </a:ext>
            </a:extLst>
          </p:cNvPr>
          <p:cNvSpPr txBox="1">
            <a:spLocks/>
          </p:cNvSpPr>
          <p:nvPr/>
        </p:nvSpPr>
        <p:spPr>
          <a:xfrm>
            <a:off x="22683" y="4355150"/>
            <a:ext cx="12192000" cy="828831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ar-EG" sz="4400" b="1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549D78-7A16-38EB-925B-BC8B3A77D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iCEcube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B2E44E-729E-5021-EFB8-32F4568CD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CDC2FE2B-9BDB-9F40-978C-D882B937BB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9400" y="1129787"/>
            <a:ext cx="4711700" cy="54927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6673869-E86A-465C-265E-3706747881B8}"/>
              </a:ext>
            </a:extLst>
          </p:cNvPr>
          <p:cNvSpPr txBox="1"/>
          <p:nvPr/>
        </p:nvSpPr>
        <p:spPr>
          <a:xfrm>
            <a:off x="685800" y="1131814"/>
            <a:ext cx="57785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1- Click on </a:t>
            </a: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ool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menu then </a:t>
            </a: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ool Options</a:t>
            </a:r>
          </a:p>
          <a:p>
            <a:r>
              <a:rPr lang="en-US" sz="24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2- Choose </a:t>
            </a:r>
            <a:r>
              <a:rPr lang="en-US" sz="24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Bitmap</a:t>
            </a:r>
            <a:r>
              <a:rPr lang="en-US" sz="24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tap and check the box behind </a:t>
            </a:r>
            <a:r>
              <a:rPr lang="en-US" sz="24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et all unused IO no pullup </a:t>
            </a:r>
            <a:r>
              <a:rPr lang="en-US" sz="24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en click </a:t>
            </a:r>
            <a:r>
              <a:rPr lang="en-US" sz="24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k</a:t>
            </a:r>
            <a:r>
              <a:rPr lang="en-US" sz="24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2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75BA06-7446-EA45-C7F6-F5497F5D8229}"/>
              </a:ext>
            </a:extLst>
          </p:cNvPr>
          <p:cNvSpPr/>
          <p:nvPr/>
        </p:nvSpPr>
        <p:spPr>
          <a:xfrm>
            <a:off x="6858000" y="5562600"/>
            <a:ext cx="1600200" cy="304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6A9F94-591D-4A6E-D953-BEB3EAC7A51B}"/>
              </a:ext>
            </a:extLst>
          </p:cNvPr>
          <p:cNvSpPr/>
          <p:nvPr/>
        </p:nvSpPr>
        <p:spPr>
          <a:xfrm>
            <a:off x="8610600" y="1524000"/>
            <a:ext cx="533400" cy="23546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10093796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240A0B-251D-ED5A-29D3-12558177D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iCEcube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C4BF6E-8C0A-DDAC-AD92-FECBAE974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902049BC-9F87-59D0-068F-6EB818CFF1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0" y="1426714"/>
            <a:ext cx="7620000" cy="400457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6F4DDC4-D5EC-C9DA-8A55-0BF67E06DE9E}"/>
              </a:ext>
            </a:extLst>
          </p:cNvPr>
          <p:cNvSpPr/>
          <p:nvPr/>
        </p:nvSpPr>
        <p:spPr>
          <a:xfrm>
            <a:off x="2362200" y="3657600"/>
            <a:ext cx="895350" cy="952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57D6DA-0579-5849-E0F8-02754E53BCFE}"/>
              </a:ext>
            </a:extLst>
          </p:cNvPr>
          <p:cNvSpPr txBox="1"/>
          <p:nvPr/>
        </p:nvSpPr>
        <p:spPr>
          <a:xfrm>
            <a:off x="3037840" y="5574267"/>
            <a:ext cx="61163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uble click on 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Run P&amp;R </a:t>
            </a:r>
            <a:endParaRPr lang="en-US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275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647DF-F58C-5FAB-9EDE-ECB71BF18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Diamond Programm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30DE46-42F6-394B-4DB9-75971739D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85BBBCD3-C709-4BD7-89D5-25EC4A34E8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8362" y="1616316"/>
            <a:ext cx="5375275" cy="362536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24525FE-B38C-AAAB-E710-6E6E8A6203DF}"/>
              </a:ext>
            </a:extLst>
          </p:cNvPr>
          <p:cNvSpPr txBox="1"/>
          <p:nvPr/>
        </p:nvSpPr>
        <p:spPr>
          <a:xfrm>
            <a:off x="3037839" y="5393352"/>
            <a:ext cx="61163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lick 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k</a:t>
            </a:r>
            <a:endParaRPr lang="en-US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690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6A060-942B-73AB-6F1A-09636DA91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Diamond Programm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BD56A0-EEB9-2734-9EA6-EECA7648D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9ACA6C-A71D-BD7B-0B59-2355207C55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0174" y="1428908"/>
            <a:ext cx="7611651" cy="400018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A34B048-BE1A-3B8C-F0B7-9009F8EF658D}"/>
              </a:ext>
            </a:extLst>
          </p:cNvPr>
          <p:cNvSpPr/>
          <p:nvPr/>
        </p:nvSpPr>
        <p:spPr>
          <a:xfrm>
            <a:off x="3352800" y="1752600"/>
            <a:ext cx="1289050" cy="304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A1F423-7EA8-7EF7-DFCA-1109F6B4337F}"/>
              </a:ext>
            </a:extLst>
          </p:cNvPr>
          <p:cNvSpPr/>
          <p:nvPr/>
        </p:nvSpPr>
        <p:spPr>
          <a:xfrm>
            <a:off x="4730750" y="1752600"/>
            <a:ext cx="1289050" cy="304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404B9F-19A1-C4BA-291C-E7E821349129}"/>
              </a:ext>
            </a:extLst>
          </p:cNvPr>
          <p:cNvSpPr txBox="1"/>
          <p:nvPr/>
        </p:nvSpPr>
        <p:spPr>
          <a:xfrm>
            <a:off x="2057400" y="5638800"/>
            <a:ext cx="8001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uble click on </a:t>
            </a:r>
            <a:r>
              <a:rPr lang="en-US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 family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ice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en choose from the menu the selected choices (</a:t>
            </a:r>
            <a:r>
              <a:rPr lang="en-US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CE40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n-US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CE40HX1K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820652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6CE886-1054-337F-4BB6-CA0D59ED3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Diamond Programm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2989B3-9379-86E1-E349-49C42B22B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8005E2FF-24ED-87A4-2A24-F363718311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1981200"/>
            <a:ext cx="3505200" cy="26289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CA39B71-D9EF-5E5D-611B-DAEC4B9C4994}"/>
              </a:ext>
            </a:extLst>
          </p:cNvPr>
          <p:cNvSpPr txBox="1"/>
          <p:nvPr/>
        </p:nvSpPr>
        <p:spPr>
          <a:xfrm>
            <a:off x="609600" y="1166832"/>
            <a:ext cx="42672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rtl="0"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sz="20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ouble click on Operation, the following window is opened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71D9C2-BB6B-9715-5711-897971B2682D}"/>
              </a:ext>
            </a:extLst>
          </p:cNvPr>
          <p:cNvSpPr txBox="1"/>
          <p:nvPr/>
        </p:nvSpPr>
        <p:spPr>
          <a:xfrm>
            <a:off x="5181600" y="1166832"/>
            <a:ext cx="63246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rtl="1">
              <a:spcBef>
                <a:spcPts val="0"/>
              </a:spcBef>
              <a:spcAft>
                <a:spcPts val="800"/>
              </a:spcAft>
            </a:pPr>
            <a:r>
              <a:rPr lang="en-US" sz="20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2. Choose </a:t>
            </a:r>
            <a:r>
              <a:rPr lang="en-US" sz="20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ccess mode</a:t>
            </a:r>
            <a:r>
              <a:rPr lang="en-US" sz="20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to be </a:t>
            </a:r>
            <a:r>
              <a:rPr lang="en-US" sz="20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PI Flash Programming</a:t>
            </a:r>
            <a:r>
              <a:rPr lang="en-US" sz="20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and the window is stretched as the following:</a:t>
            </a:r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78C76C43-1161-8C2F-0059-C669338297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6400" y="1981200"/>
            <a:ext cx="3210558" cy="468751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6C79DFA-9C2D-7D90-0F90-E844B7431FF8}"/>
              </a:ext>
            </a:extLst>
          </p:cNvPr>
          <p:cNvSpPr txBox="1"/>
          <p:nvPr/>
        </p:nvSpPr>
        <p:spPr>
          <a:xfrm>
            <a:off x="8458200" y="2586552"/>
            <a:ext cx="3124200" cy="343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0" algn="l">
              <a:spcBef>
                <a:spcPts val="0"/>
              </a:spcBef>
              <a:spcAft>
                <a:spcPts val="800"/>
              </a:spcAft>
            </a:pPr>
            <a:r>
              <a:rPr lang="en-US" sz="1800" b="1" kern="100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Make sure that the settings are as seen in the figure.</a:t>
            </a:r>
          </a:p>
          <a:p>
            <a:pPr marL="228600" marR="0" algn="l"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 </a:t>
            </a:r>
            <a:r>
              <a:rPr lang="en-US" sz="18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rogramming file</a:t>
            </a:r>
            <a:r>
              <a:rPr lang="en-US" sz="18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field, browse for the .bin file. The .bin file is found in the following path: </a:t>
            </a:r>
            <a:r>
              <a:rPr lang="en-US" sz="1800" kern="100" dirty="0">
                <a:solidFill>
                  <a:srgbClr val="80808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:/Users/sondo/Desktop/leds/</a:t>
            </a:r>
            <a:r>
              <a:rPr lang="en-US" sz="1800" b="1" kern="100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leds/leds_Implmnt/sbt/outputs/bitmap/leds_bitmap.bin</a:t>
            </a:r>
            <a:endParaRPr lang="en-US" sz="1800" kern="1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28600" marR="0" algn="l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en click </a:t>
            </a:r>
            <a:r>
              <a:rPr lang="en-US" sz="18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k</a:t>
            </a:r>
            <a:r>
              <a:rPr lang="en-US" sz="18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458386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FE705-AE2B-D33D-A21C-8DB512C81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Diamond Programm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C4B05F-5E5B-D0B7-8B3C-C2A77CE13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7DF3B59D-3CEA-1173-040E-0629B0A13F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0" y="1426714"/>
            <a:ext cx="7620000" cy="400457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85CA957-11AF-BD5D-B0D7-0FA7136F086A}"/>
              </a:ext>
            </a:extLst>
          </p:cNvPr>
          <p:cNvSpPr/>
          <p:nvPr/>
        </p:nvSpPr>
        <p:spPr>
          <a:xfrm>
            <a:off x="3200400" y="1600200"/>
            <a:ext cx="228600" cy="2286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F585A9-4CCD-B39F-C798-D6352A1660B0}"/>
              </a:ext>
            </a:extLst>
          </p:cNvPr>
          <p:cNvSpPr txBox="1"/>
          <p:nvPr/>
        </p:nvSpPr>
        <p:spPr>
          <a:xfrm>
            <a:off x="1066800" y="5506813"/>
            <a:ext cx="10058400" cy="8735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lick on </a:t>
            </a:r>
            <a:r>
              <a:rPr lang="en-US" sz="1800" b="1" kern="100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rogram</a:t>
            </a:r>
            <a:r>
              <a:rPr lang="en-US" sz="18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icon to start programming and uploading the file into the memory. After finishing, you will find the LEDs on the board are blinking in a certain pattern according to the code.</a:t>
            </a:r>
          </a:p>
        </p:txBody>
      </p:sp>
    </p:spTree>
    <p:extLst>
      <p:ext uri="{BB962C8B-B14F-4D97-AF65-F5344CB8AC3E}">
        <p14:creationId xmlns:p14="http://schemas.microsoft.com/office/powerpoint/2010/main" val="36707316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1348FA-3015-F7DA-CA3C-7003DEA3A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2A627C2-91AF-17EF-79F7-4E4245D7431E}"/>
              </a:ext>
            </a:extLst>
          </p:cNvPr>
          <p:cNvSpPr txBox="1"/>
          <p:nvPr/>
        </p:nvSpPr>
        <p:spPr>
          <a:xfrm>
            <a:off x="1447800" y="3013501"/>
            <a:ext cx="9296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rgbClr val="007FA3"/>
                </a:solidFill>
              </a:rPr>
              <a:t>Reports</a:t>
            </a:r>
            <a:endParaRPr lang="en-US" sz="2000" dirty="0">
              <a:solidFill>
                <a:srgbClr val="007F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3613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4AAA4-AF67-A906-4623-34586BB74B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Resource Utilization Report: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A5FBBB-D687-63C8-B2D1-73461C6C4E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ool &gt;&gt; View Repor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44D3B6-CEA4-C0B4-843B-E197AF928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C19F5D-5171-F043-2F3F-57EC1260FD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2600" y="1249685"/>
            <a:ext cx="5755426" cy="5381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6049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C885AA-C923-0FCB-E050-F2975536F1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ool &gt;&gt; Power Estimato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CC281-452B-7B1E-1B9B-D93FBE2E2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D3E9AB3-0355-1877-E893-9950BC086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15900"/>
            <a:ext cx="10972800" cy="698500"/>
          </a:xfrm>
        </p:spPr>
        <p:txBody>
          <a:bodyPr/>
          <a:lstStyle/>
          <a:p>
            <a:r>
              <a:rPr lang="en-US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ower Report: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2AFD23-6A0B-77C3-8A46-89651F7249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6400" y="1824835"/>
            <a:ext cx="5816600" cy="36957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C29B186-B79B-627B-7BB4-FDD7AADCA4B9}"/>
              </a:ext>
            </a:extLst>
          </p:cNvPr>
          <p:cNvSpPr txBox="1"/>
          <p:nvPr/>
        </p:nvSpPr>
        <p:spPr>
          <a:xfrm>
            <a:off x="609600" y="1820870"/>
            <a:ext cx="4876800" cy="37820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Times New Roman" panose="02020603050405020304" pitchFamily="18" charset="0"/>
              <a:buChar char="-"/>
            </a:pPr>
            <a:r>
              <a:rPr lang="en-US" sz="1800" u="sng" strike="noStrike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ore Power:</a:t>
            </a:r>
            <a:r>
              <a:rPr lang="en-US" sz="1800" b="1" u="none" strike="noStrike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u="none" strike="noStrike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s the power dissipated during charging and discharging the capacitors in internal nodes.</a:t>
            </a:r>
          </a:p>
          <a:p>
            <a:pPr marL="342900" marR="0" lvl="0" indent="-3429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Times New Roman" panose="02020603050405020304" pitchFamily="18" charset="0"/>
              <a:buChar char="-"/>
            </a:pPr>
            <a:r>
              <a:rPr lang="en-US" sz="1800" u="sng" strike="noStrike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O Power:</a:t>
            </a:r>
            <a:r>
              <a:rPr lang="en-US" sz="1800" b="1" u="none" strike="noStrike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u="none" strike="noStrike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s the power dissipated during charging and discharging the external load capacitors connected to device pins.</a:t>
            </a:r>
          </a:p>
          <a:p>
            <a:pPr marL="342900" marR="0" lvl="0" indent="-342900" algn="l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en-US" sz="1800" u="none" strike="noStrike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rocess and Temperature affects Static Power only while IO Voltage affects both Static (small change) and Dynamic (large change)</a:t>
            </a:r>
          </a:p>
        </p:txBody>
      </p:sp>
    </p:spTree>
    <p:extLst>
      <p:ext uri="{BB962C8B-B14F-4D97-AF65-F5344CB8AC3E}">
        <p14:creationId xmlns:p14="http://schemas.microsoft.com/office/powerpoint/2010/main" val="12157499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65994-F0EA-1D86-7918-5B41CC333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iming Report: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3A5AF7-7EDB-938D-9E4A-BECF797E96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ool &gt;&gt; Timing Analysis &gt;&gt; Clock Summary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sz="32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ool &gt;&gt; Timing Constraints Editor  -------- &gt; to add constraints on the clock </a:t>
            </a:r>
            <a:r>
              <a:rPr lang="en-US" sz="3200" kern="100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(increase the actual frequency)</a:t>
            </a:r>
          </a:p>
          <a:p>
            <a:endParaRPr lang="en-US" sz="3200" kern="100" dirty="0"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3200" kern="1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ve the .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dc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ile</a:t>
            </a:r>
          </a:p>
          <a:p>
            <a:pPr marL="0" indent="0">
              <a:buNone/>
            </a:pPr>
            <a:endParaRPr lang="en-US" sz="3200" kern="1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BFF9CC-3ACA-D395-AE6A-FF26C88F8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CE507D-2395-3FA1-E689-A4C602FA79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569" y="1676400"/>
            <a:ext cx="10270782" cy="82078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B0646C5-84F5-9E8B-8C27-223E2F4CEE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8254" y="3505200"/>
            <a:ext cx="6935492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264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64809-D82F-F8B1-2C11-54F727857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ceCube</a:t>
            </a:r>
            <a:r>
              <a:rPr lang="en-US" dirty="0"/>
              <a:t> Design Flow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6948FD-2881-9D45-4BC4-90FBF0D7DF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163B4B-6E79-BA90-3A17-E1A8956C9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7800" y="0"/>
            <a:ext cx="5791200" cy="64007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4AE434C-1341-1DAF-2354-01D5B67D1CDF}"/>
              </a:ext>
            </a:extLst>
          </p:cNvPr>
          <p:cNvSpPr txBox="1"/>
          <p:nvPr/>
        </p:nvSpPr>
        <p:spPr>
          <a:xfrm>
            <a:off x="457200" y="914400"/>
            <a:ext cx="52578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-US" sz="2400" b="1" i="0" dirty="0">
                <a:solidFill>
                  <a:srgbClr val="282829"/>
                </a:solidFill>
                <a:effectLst/>
                <a:latin typeface="-apple-system"/>
              </a:rPr>
              <a:t>SDF stands for Standard delay format.</a:t>
            </a:r>
          </a:p>
          <a:p>
            <a:pPr algn="l" rtl="0"/>
            <a:r>
              <a:rPr lang="en-US" sz="2400" b="0" i="0" dirty="0">
                <a:solidFill>
                  <a:srgbClr val="282829"/>
                </a:solidFill>
                <a:effectLst/>
                <a:latin typeface="-apple-system"/>
              </a:rPr>
              <a:t>It gives information on the timing data extensively used in backend VLSI design flows.</a:t>
            </a:r>
          </a:p>
          <a:p>
            <a:pPr algn="l" rtl="0"/>
            <a:r>
              <a:rPr lang="en-US" sz="2400" b="0" i="0" dirty="0">
                <a:solidFill>
                  <a:srgbClr val="282829"/>
                </a:solidFill>
                <a:effectLst/>
                <a:latin typeface="-apple-system"/>
              </a:rPr>
              <a:t>SDF gives information about</a:t>
            </a:r>
          </a:p>
          <a:p>
            <a:pPr algn="l" rtl="0">
              <a:buFont typeface="+mj-lt"/>
              <a:buAutoNum type="arabicPeriod"/>
            </a:pPr>
            <a:r>
              <a:rPr lang="en-US" sz="2400" b="0" i="0" dirty="0">
                <a:solidFill>
                  <a:srgbClr val="282829"/>
                </a:solidFill>
                <a:effectLst/>
                <a:latin typeface="-apple-system"/>
              </a:rPr>
              <a:t>Path delays</a:t>
            </a:r>
          </a:p>
          <a:p>
            <a:pPr algn="l" rtl="0">
              <a:buFont typeface="+mj-lt"/>
              <a:buAutoNum type="arabicPeriod"/>
            </a:pPr>
            <a:r>
              <a:rPr lang="en-US" sz="2400" b="0" i="0" dirty="0">
                <a:solidFill>
                  <a:srgbClr val="282829"/>
                </a:solidFill>
                <a:effectLst/>
                <a:latin typeface="-apple-system"/>
              </a:rPr>
              <a:t>Interconnect delays</a:t>
            </a:r>
          </a:p>
          <a:p>
            <a:pPr algn="l" rtl="0">
              <a:buFont typeface="+mj-lt"/>
              <a:buAutoNum type="arabicPeriod"/>
            </a:pPr>
            <a:r>
              <a:rPr lang="en-US" sz="2400" b="0" i="0" dirty="0">
                <a:solidFill>
                  <a:srgbClr val="282829"/>
                </a:solidFill>
                <a:effectLst/>
                <a:latin typeface="-apple-system"/>
              </a:rPr>
              <a:t>Timing constraints</a:t>
            </a:r>
          </a:p>
          <a:p>
            <a:pPr algn="l" rtl="0">
              <a:buFont typeface="+mj-lt"/>
              <a:buAutoNum type="arabicPeriod"/>
            </a:pPr>
            <a:r>
              <a:rPr lang="en-US" sz="2400" b="0" i="0" dirty="0">
                <a:solidFill>
                  <a:srgbClr val="282829"/>
                </a:solidFill>
                <a:effectLst/>
                <a:latin typeface="-apple-system"/>
              </a:rPr>
              <a:t>Tech parameters affecting delays</a:t>
            </a:r>
          </a:p>
          <a:p>
            <a:pPr algn="l" rtl="0">
              <a:buFont typeface="+mj-lt"/>
              <a:buAutoNum type="arabicPeriod"/>
            </a:pPr>
            <a:r>
              <a:rPr lang="en-US" sz="2400" b="0" i="0" dirty="0">
                <a:solidFill>
                  <a:srgbClr val="282829"/>
                </a:solidFill>
                <a:effectLst/>
                <a:latin typeface="-apple-system"/>
              </a:rPr>
              <a:t>Cell delays</a:t>
            </a:r>
          </a:p>
          <a:p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33556224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B2A8D-40BF-B0AB-1855-30A10FF40E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algn="l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32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ool &gt;&gt; Run All</a:t>
            </a:r>
          </a:p>
          <a:p>
            <a:pPr marL="0" marR="0" algn="l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32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ool &gt;&gt; Timing Analysis &gt;&gt; Clock Summary </a:t>
            </a:r>
          </a:p>
          <a:p>
            <a:endParaRPr lang="en-US" sz="3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C8D581-AFED-DB4D-8F53-E93D50FA0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5639582-95DA-DBC1-BDAF-28DBA056E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</p:spPr>
        <p:txBody>
          <a:bodyPr/>
          <a:lstStyle/>
          <a:p>
            <a:r>
              <a:rPr lang="en-US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iming Report: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29D781-D531-5C68-E399-907994F05E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3307661"/>
            <a:ext cx="10400689" cy="7300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8B26BD0-3DC2-DCEC-A4A0-425E19AFCEDD}"/>
              </a:ext>
            </a:extLst>
          </p:cNvPr>
          <p:cNvSpPr txBox="1"/>
          <p:nvPr/>
        </p:nvSpPr>
        <p:spPr>
          <a:xfrm>
            <a:off x="609599" y="4437401"/>
            <a:ext cx="10400689" cy="16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kern="100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ry to make the Target Frequency which is the actual frequency to be equal to or less than FMAX frequency to solve the setup violation (make the worst slack positive).</a:t>
            </a:r>
          </a:p>
        </p:txBody>
      </p:sp>
    </p:spTree>
    <p:extLst>
      <p:ext uri="{BB962C8B-B14F-4D97-AF65-F5344CB8AC3E}">
        <p14:creationId xmlns:p14="http://schemas.microsoft.com/office/powerpoint/2010/main" val="22655143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0A300F-2DED-6CD2-535E-7FE405188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62000" y="672572"/>
            <a:ext cx="10972800" cy="699028"/>
          </a:xfrm>
        </p:spPr>
        <p:txBody>
          <a:bodyPr/>
          <a:lstStyle/>
          <a:p>
            <a:r>
              <a:rPr lang="en-US" dirty="0"/>
              <a:t>Number of CLK Cycles to represent delay</a:t>
            </a:r>
            <a:br>
              <a:rPr lang="en-US" dirty="0"/>
            </a:b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3AE086-5983-7849-FBF4-DA17CA28962E}"/>
              </a:ext>
            </a:extLst>
          </p:cNvPr>
          <p:cNvSpPr txBox="1"/>
          <p:nvPr/>
        </p:nvSpPr>
        <p:spPr>
          <a:xfrm>
            <a:off x="762000" y="1295400"/>
            <a:ext cx="1051560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PGA CLK frequency is 12MHZ which means that its period is 8.333e-8 se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f we toggle the LED at each edge, then it appears on all the time as the clock is very fa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make the LED toggle each 1 sec, then we need to determine the appropriate number of clock cycles to toggle after them, so, we need a counter to count the number of edges that makes a delay of 1 se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lay time = CLK period * CLK cyc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sec = 8.333e-8 * CLK cyc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LK cycles = 12,000,000 (12M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n we take an action every 12M clock cycle to represent a delay 1 sec between any 2 consecutive actions to can see the actions clearly with our eyes.</a:t>
            </a:r>
          </a:p>
        </p:txBody>
      </p:sp>
    </p:spTree>
    <p:extLst>
      <p:ext uri="{BB962C8B-B14F-4D97-AF65-F5344CB8AC3E}">
        <p14:creationId xmlns:p14="http://schemas.microsoft.com/office/powerpoint/2010/main" val="3383095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0AC41-CD73-844C-94B2-B320172BA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iCEcube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FDD158-4833-4407-5F3C-E92044CD2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 descr="A grey screen with black and yellow text&#10;&#10;Description automatically generated">
            <a:extLst>
              <a:ext uri="{FF2B5EF4-FFF2-40B4-BE49-F238E27FC236}">
                <a16:creationId xmlns:a16="http://schemas.microsoft.com/office/drawing/2014/main" id="{ABBDA795-81B1-28BB-EB04-988719CBFF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8300" y="1086326"/>
            <a:ext cx="8915400" cy="468534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1A4B202-E507-36E6-406D-55BCF7546EBC}"/>
              </a:ext>
            </a:extLst>
          </p:cNvPr>
          <p:cNvSpPr/>
          <p:nvPr/>
        </p:nvSpPr>
        <p:spPr>
          <a:xfrm>
            <a:off x="1797050" y="1873250"/>
            <a:ext cx="641350" cy="1079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F635ED-AFC7-90B1-1BFF-90F694F45028}"/>
              </a:ext>
            </a:extLst>
          </p:cNvPr>
          <p:cNvSpPr txBox="1"/>
          <p:nvPr/>
        </p:nvSpPr>
        <p:spPr>
          <a:xfrm>
            <a:off x="4191000" y="5796995"/>
            <a:ext cx="411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uble click on </a:t>
            </a:r>
            <a:r>
              <a:rPr lang="en-US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w Project</a:t>
            </a:r>
          </a:p>
        </p:txBody>
      </p:sp>
    </p:spTree>
    <p:extLst>
      <p:ext uri="{BB962C8B-B14F-4D97-AF65-F5344CB8AC3E}">
        <p14:creationId xmlns:p14="http://schemas.microsoft.com/office/powerpoint/2010/main" val="4217585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7BE2C-65FB-E03B-CF2A-C11DDD28C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iCEcube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E13197-B7AC-F455-9B62-9A1BE8C0B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22081D-387A-BB1D-0599-98040520E9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0" y="1044911"/>
            <a:ext cx="3114737" cy="551823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84D03AB-2339-84BF-4030-09B1AEC515A4}"/>
              </a:ext>
            </a:extLst>
          </p:cNvPr>
          <p:cNvSpPr txBox="1"/>
          <p:nvPr/>
        </p:nvSpPr>
        <p:spPr>
          <a:xfrm>
            <a:off x="609600" y="1044911"/>
            <a:ext cx="6116320" cy="39908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rtl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sz="24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ill the fields inside the red rectangles. Make sure that fields 3,4,5 and 6 are as shown in the figure.</a:t>
            </a:r>
          </a:p>
          <a:p>
            <a:pPr marL="342900" marR="0" lvl="0" indent="-342900" algn="l" rtl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sz="24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on’t forget to create a folder to contain your project then put the path of the folder in the </a:t>
            </a:r>
            <a:r>
              <a:rPr lang="en-US" sz="24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roject Directory</a:t>
            </a:r>
            <a:r>
              <a:rPr lang="en-US" sz="24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field.</a:t>
            </a:r>
          </a:p>
          <a:p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3. Then click </a:t>
            </a: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Next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593763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E4A57E-D541-2FCF-65CC-14B5D9530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iCEcube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6D0619-0F5B-6684-3981-265A9ED0B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D61CFAE4-A5D3-6A7C-37E9-049D4B9847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7003" y="1524000"/>
            <a:ext cx="8337994" cy="3810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D9F11EB-DF2C-796C-D913-26BB03A05B75}"/>
              </a:ext>
            </a:extLst>
          </p:cNvPr>
          <p:cNvSpPr txBox="1"/>
          <p:nvPr/>
        </p:nvSpPr>
        <p:spPr>
          <a:xfrm>
            <a:off x="1676400" y="5410200"/>
            <a:ext cx="8763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Browse to the Verilog file that contains the design, then select it and click on &gt;&gt; arrow to add it to</a:t>
            </a:r>
            <a:r>
              <a:rPr lang="en-US" sz="2000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kern="100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iles to add</a:t>
            </a:r>
            <a:r>
              <a:rPr lang="en-US" sz="2000" kern="100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list. Then click </a:t>
            </a:r>
            <a:r>
              <a:rPr lang="en-US" sz="2000" b="1" kern="100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k</a:t>
            </a:r>
            <a:r>
              <a:rPr lang="en-US" sz="2000" b="1" kern="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77043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98E46-5FF1-8304-06C3-E6E778414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iCEcube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0BB74E-0F1F-F9BA-ADFB-A6003CFF4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25B01D-CB68-0A56-BFAA-28B221A772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020" y="1274846"/>
            <a:ext cx="8197960" cy="430830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7EF674E-14F6-6297-9E95-AB0D16C06C81}"/>
              </a:ext>
            </a:extLst>
          </p:cNvPr>
          <p:cNvSpPr/>
          <p:nvPr/>
        </p:nvSpPr>
        <p:spPr>
          <a:xfrm>
            <a:off x="2133600" y="2819400"/>
            <a:ext cx="1219200" cy="152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27DC3D-D1BF-840C-82FD-62E3143D0EE5}"/>
              </a:ext>
            </a:extLst>
          </p:cNvPr>
          <p:cNvSpPr txBox="1"/>
          <p:nvPr/>
        </p:nvSpPr>
        <p:spPr>
          <a:xfrm>
            <a:off x="3037840" y="5638800"/>
            <a:ext cx="61163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ouble click on 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Run </a:t>
            </a:r>
            <a:r>
              <a:rPr lang="en-US" sz="2000" b="1" dirty="0" err="1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ynplify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Pro Synthesis </a:t>
            </a:r>
            <a:endParaRPr lang="en-US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2715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C739D-9DCF-6F6D-B23E-EBA70F1B2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iCEcube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F83159-4C62-C3EC-26E3-5CD889091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583DB182-264F-6976-F76F-CD7281102C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3885" y="1325752"/>
            <a:ext cx="8004230" cy="420649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EF2BD85-DBD2-B3B4-8EC2-F687CC1FB6D5}"/>
              </a:ext>
            </a:extLst>
          </p:cNvPr>
          <p:cNvSpPr/>
          <p:nvPr/>
        </p:nvSpPr>
        <p:spPr>
          <a:xfrm>
            <a:off x="2209800" y="3733800"/>
            <a:ext cx="1066800" cy="152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C4A463-A4E8-D840-D6C7-5EFED7286E0D}"/>
              </a:ext>
            </a:extLst>
          </p:cNvPr>
          <p:cNvSpPr txBox="1"/>
          <p:nvPr/>
        </p:nvSpPr>
        <p:spPr>
          <a:xfrm>
            <a:off x="3037840" y="5708060"/>
            <a:ext cx="61163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ouble click on 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mport P&amp;R Input Files</a:t>
            </a:r>
            <a:r>
              <a:rPr lang="en-US" sz="2000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621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100C5-CD4B-A9EE-109D-1B1CE33E3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use iCEcube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0A4FD3-8BF6-EE27-BD38-24B1E7F24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ADA695E-4499-8B22-3250-D7985040B1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0174" y="1428908"/>
            <a:ext cx="7611651" cy="400018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E56899E-EA01-9861-1A93-27D288F0954B}"/>
              </a:ext>
            </a:extLst>
          </p:cNvPr>
          <p:cNvSpPr/>
          <p:nvPr/>
        </p:nvSpPr>
        <p:spPr>
          <a:xfrm>
            <a:off x="2895600" y="1676400"/>
            <a:ext cx="228600" cy="2286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CE949F5-A0F9-B84A-64E8-BC21C291D0E6}"/>
              </a:ext>
            </a:extLst>
          </p:cNvPr>
          <p:cNvSpPr/>
          <p:nvPr/>
        </p:nvSpPr>
        <p:spPr>
          <a:xfrm>
            <a:off x="6400800" y="1828800"/>
            <a:ext cx="838200" cy="2286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9ADAD0-4E2B-07F2-F2C8-5DEF7EDFA336}"/>
              </a:ext>
            </a:extLst>
          </p:cNvPr>
          <p:cNvSpPr/>
          <p:nvPr/>
        </p:nvSpPr>
        <p:spPr>
          <a:xfrm>
            <a:off x="5257800" y="2133600"/>
            <a:ext cx="609600" cy="762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6355F6-1BE1-0259-0EE2-87CEAD7A863E}"/>
              </a:ext>
            </a:extLst>
          </p:cNvPr>
          <p:cNvSpPr/>
          <p:nvPr/>
        </p:nvSpPr>
        <p:spPr>
          <a:xfrm>
            <a:off x="6096000" y="2133600"/>
            <a:ext cx="533400" cy="762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090F17-811D-820E-AD05-23D76CE4287A}"/>
              </a:ext>
            </a:extLst>
          </p:cNvPr>
          <p:cNvSpPr/>
          <p:nvPr/>
        </p:nvSpPr>
        <p:spPr>
          <a:xfrm>
            <a:off x="6629400" y="2133600"/>
            <a:ext cx="381000" cy="762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37BBE9-1BCD-8986-5F54-E4E4BB09562E}"/>
              </a:ext>
            </a:extLst>
          </p:cNvPr>
          <p:cNvSpPr txBox="1"/>
          <p:nvPr/>
        </p:nvSpPr>
        <p:spPr>
          <a:xfrm>
            <a:off x="380999" y="1428908"/>
            <a:ext cx="19853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- 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lick on 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in Constraints Editor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con </a:t>
            </a: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B568094-9AC4-1989-3316-00D2525DF2FF}"/>
              </a:ext>
            </a:extLst>
          </p:cNvPr>
          <p:cNvCxnSpPr>
            <a:cxnSpLocks/>
          </p:cNvCxnSpPr>
          <p:nvPr/>
        </p:nvCxnSpPr>
        <p:spPr>
          <a:xfrm flipV="1">
            <a:off x="1981200" y="1828800"/>
            <a:ext cx="914400" cy="2286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EB4F779D-8F35-91FB-ABFA-C5C52ED12680}"/>
              </a:ext>
            </a:extLst>
          </p:cNvPr>
          <p:cNvSpPr txBox="1"/>
          <p:nvPr/>
        </p:nvSpPr>
        <p:spPr>
          <a:xfrm>
            <a:off x="7890144" y="1435268"/>
            <a:ext cx="232065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- 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in Constraints Editor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tap is opened </a:t>
            </a: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68CF2A2-1A2C-88E1-7E23-655588CC21FE}"/>
              </a:ext>
            </a:extLst>
          </p:cNvPr>
          <p:cNvCxnSpPr/>
          <p:nvPr/>
        </p:nvCxnSpPr>
        <p:spPr>
          <a:xfrm flipH="1">
            <a:off x="7239000" y="1981200"/>
            <a:ext cx="609600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28FB82A8-444F-BC98-359C-2A1255FC2171}"/>
              </a:ext>
            </a:extLst>
          </p:cNvPr>
          <p:cNvSpPr txBox="1"/>
          <p:nvPr/>
        </p:nvSpPr>
        <p:spPr>
          <a:xfrm>
            <a:off x="4068036" y="3144396"/>
            <a:ext cx="46655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- 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ill the 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in Location 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nd 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O Standard 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nd </a:t>
            </a:r>
            <a:r>
              <a:rPr lang="en-US" sz="2000" b="1" dirty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ull Up 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columns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147008-AEB8-55AD-8AE1-2444117C490E}"/>
              </a:ext>
            </a:extLst>
          </p:cNvPr>
          <p:cNvSpPr txBox="1"/>
          <p:nvPr/>
        </p:nvSpPr>
        <p:spPr>
          <a:xfrm>
            <a:off x="2290174" y="5390643"/>
            <a:ext cx="761165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i="1" u="sng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Note:</a:t>
            </a:r>
            <a:r>
              <a:rPr lang="en-US" sz="1800" b="1" i="1" u="sng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Bank</a:t>
            </a: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column is filled automatically while you are filling the 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in Location</a:t>
            </a: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column</a:t>
            </a:r>
            <a:endParaRPr lang="en-US" dirty="0"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1800" i="1" u="sng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Note: </a:t>
            </a: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Pin Location numbers of LEDs and clock are got from datasheet of the FPGA board.</a:t>
            </a: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73502186-BC47-0787-17E4-9B8CDD6A4BCE}"/>
              </a:ext>
            </a:extLst>
          </p:cNvPr>
          <p:cNvCxnSpPr>
            <a:stCxn id="18" idx="0"/>
            <a:endCxn id="8" idx="2"/>
          </p:cNvCxnSpPr>
          <p:nvPr/>
        </p:nvCxnSpPr>
        <p:spPr>
          <a:xfrm rot="16200000" flipV="1">
            <a:off x="5857302" y="2600898"/>
            <a:ext cx="248796" cy="838200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95A56666-3AEF-D602-0066-8512940A5E69}"/>
              </a:ext>
            </a:extLst>
          </p:cNvPr>
          <p:cNvCxnSpPr>
            <a:stCxn id="18" idx="0"/>
            <a:endCxn id="9" idx="2"/>
          </p:cNvCxnSpPr>
          <p:nvPr/>
        </p:nvCxnSpPr>
        <p:spPr>
          <a:xfrm rot="16200000" flipV="1">
            <a:off x="6257352" y="3000948"/>
            <a:ext cx="248796" cy="38100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7FC96980-74FD-C52F-C50B-78C2DED10329}"/>
              </a:ext>
            </a:extLst>
          </p:cNvPr>
          <p:cNvCxnSpPr>
            <a:stCxn id="18" idx="0"/>
            <a:endCxn id="10" idx="2"/>
          </p:cNvCxnSpPr>
          <p:nvPr/>
        </p:nvCxnSpPr>
        <p:spPr>
          <a:xfrm rot="5400000" flipH="1" flipV="1">
            <a:off x="6485952" y="2810448"/>
            <a:ext cx="248796" cy="419100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7260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6313</TotalTime>
  <Words>924</Words>
  <Application>Microsoft Office PowerPoint</Application>
  <PresentationFormat>Widescreen</PresentationFormat>
  <Paragraphs>93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-apple-system</vt:lpstr>
      <vt:lpstr>Arial</vt:lpstr>
      <vt:lpstr>Sakkal Majalla</vt:lpstr>
      <vt:lpstr>Times New Roman</vt:lpstr>
      <vt:lpstr>Wingdings</vt:lpstr>
      <vt:lpstr>508 Lecture</vt:lpstr>
      <vt:lpstr>think-cell Slide</vt:lpstr>
      <vt:lpstr>CND111: FPGA Flow</vt:lpstr>
      <vt:lpstr>IceCube Design Flow </vt:lpstr>
      <vt:lpstr>Number of CLK Cycles to represent delay </vt:lpstr>
      <vt:lpstr>Steps to use iCEcube2</vt:lpstr>
      <vt:lpstr>Steps to use iCEcube2</vt:lpstr>
      <vt:lpstr>Steps to use iCEcube2</vt:lpstr>
      <vt:lpstr>Steps to use iCEcube2</vt:lpstr>
      <vt:lpstr>Steps to use iCEcube2</vt:lpstr>
      <vt:lpstr>Steps to use iCEcube2</vt:lpstr>
      <vt:lpstr>Steps to use iCEcube2</vt:lpstr>
      <vt:lpstr>Steps to use iCEcube2</vt:lpstr>
      <vt:lpstr>Steps to use Diamond Programmer</vt:lpstr>
      <vt:lpstr>Steps to use Diamond Programmer</vt:lpstr>
      <vt:lpstr>Steps to use Diamond Programmer</vt:lpstr>
      <vt:lpstr>Steps to use Diamond Programmer</vt:lpstr>
      <vt:lpstr>PowerPoint Presentation</vt:lpstr>
      <vt:lpstr>Resource Utilization Report:</vt:lpstr>
      <vt:lpstr>Power Report:</vt:lpstr>
      <vt:lpstr>Timing Report:</vt:lpstr>
      <vt:lpstr>Timing Report: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Zeina Mohamed</cp:lastModifiedBy>
  <cp:revision>3868</cp:revision>
  <dcterms:created xsi:type="dcterms:W3CDTF">2014-07-14T20:04:21Z</dcterms:created>
  <dcterms:modified xsi:type="dcterms:W3CDTF">2023-11-21T11:27:21Z</dcterms:modified>
</cp:coreProperties>
</file>